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45422A-D659-233A-0BF4-66952B03E2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CC573F72-4E96-91B6-7004-AF5018994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573F72-4E96-91B6-7004-AF5018994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CAD51A-99F2-D372-94CF-1BF633859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8EF198-AC19-DD04-49A4-ADDDB9C9FF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94809C7-9AA8-AE32-B866-FC7186C89342}"/>
              </a:ext>
            </a:extLst>
          </p:cNvPr>
          <p:cNvGrpSpPr/>
          <p:nvPr/>
        </p:nvGrpSpPr>
        <p:grpSpPr>
          <a:xfrm>
            <a:off x="3803650" y="1371600"/>
            <a:ext cx="4343399" cy="4348052"/>
            <a:chOff x="-7225901" y="433387"/>
            <a:chExt cx="4343399" cy="434805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52C5861-9F1C-3A03-700B-54A0B1FF7FB6}"/>
                </a:ext>
              </a:extLst>
            </p:cNvPr>
            <p:cNvGrpSpPr>
              <a:grpSpLocks/>
            </p:cNvGrpSpPr>
            <p:nvPr/>
          </p:nvGrpSpPr>
          <p:grpSpPr>
            <a:xfrm>
              <a:off x="-7225901" y="433387"/>
              <a:ext cx="4343399" cy="4348052"/>
              <a:chOff x="-7654925" y="433388"/>
              <a:chExt cx="4094162" cy="4098925"/>
            </a:xfrm>
          </p:grpSpPr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D2FB9549-4CC0-B50E-497C-12E9AF46EA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3875" y="433388"/>
                <a:ext cx="2043112" cy="4098925"/>
              </a:xfrm>
              <a:custGeom>
                <a:avLst/>
                <a:gdLst>
                  <a:gd name="T0" fmla="*/ 0 w 1287"/>
                  <a:gd name="T1" fmla="*/ 0 h 2582"/>
                  <a:gd name="T2" fmla="*/ 132 w 1287"/>
                  <a:gd name="T3" fmla="*/ 6 h 2582"/>
                  <a:gd name="T4" fmla="*/ 258 w 1287"/>
                  <a:gd name="T5" fmla="*/ 23 h 2582"/>
                  <a:gd name="T6" fmla="*/ 384 w 1287"/>
                  <a:gd name="T7" fmla="*/ 57 h 2582"/>
                  <a:gd name="T8" fmla="*/ 498 w 1287"/>
                  <a:gd name="T9" fmla="*/ 98 h 2582"/>
                  <a:gd name="T10" fmla="*/ 612 w 1287"/>
                  <a:gd name="T11" fmla="*/ 155 h 2582"/>
                  <a:gd name="T12" fmla="*/ 721 w 1287"/>
                  <a:gd name="T13" fmla="*/ 218 h 2582"/>
                  <a:gd name="T14" fmla="*/ 818 w 1287"/>
                  <a:gd name="T15" fmla="*/ 293 h 2582"/>
                  <a:gd name="T16" fmla="*/ 910 w 1287"/>
                  <a:gd name="T17" fmla="*/ 379 h 2582"/>
                  <a:gd name="T18" fmla="*/ 995 w 1287"/>
                  <a:gd name="T19" fmla="*/ 471 h 2582"/>
                  <a:gd name="T20" fmla="*/ 1070 w 1287"/>
                  <a:gd name="T21" fmla="*/ 568 h 2582"/>
                  <a:gd name="T22" fmla="*/ 1133 w 1287"/>
                  <a:gd name="T23" fmla="*/ 677 h 2582"/>
                  <a:gd name="T24" fmla="*/ 1184 w 1287"/>
                  <a:gd name="T25" fmla="*/ 786 h 2582"/>
                  <a:gd name="T26" fmla="*/ 1230 w 1287"/>
                  <a:gd name="T27" fmla="*/ 907 h 2582"/>
                  <a:gd name="T28" fmla="*/ 1264 w 1287"/>
                  <a:gd name="T29" fmla="*/ 1027 h 2582"/>
                  <a:gd name="T30" fmla="*/ 1281 w 1287"/>
                  <a:gd name="T31" fmla="*/ 1159 h 2582"/>
                  <a:gd name="T32" fmla="*/ 1287 w 1287"/>
                  <a:gd name="T33" fmla="*/ 1291 h 2582"/>
                  <a:gd name="T34" fmla="*/ 1281 w 1287"/>
                  <a:gd name="T35" fmla="*/ 1423 h 2582"/>
                  <a:gd name="T36" fmla="*/ 1264 w 1287"/>
                  <a:gd name="T37" fmla="*/ 1549 h 2582"/>
                  <a:gd name="T38" fmla="*/ 1230 w 1287"/>
                  <a:gd name="T39" fmla="*/ 1676 h 2582"/>
                  <a:gd name="T40" fmla="*/ 1184 w 1287"/>
                  <a:gd name="T41" fmla="*/ 1796 h 2582"/>
                  <a:gd name="T42" fmla="*/ 1133 w 1287"/>
                  <a:gd name="T43" fmla="*/ 1905 h 2582"/>
                  <a:gd name="T44" fmla="*/ 1070 w 1287"/>
                  <a:gd name="T45" fmla="*/ 2014 h 2582"/>
                  <a:gd name="T46" fmla="*/ 995 w 1287"/>
                  <a:gd name="T47" fmla="*/ 2112 h 2582"/>
                  <a:gd name="T48" fmla="*/ 910 w 1287"/>
                  <a:gd name="T49" fmla="*/ 2203 h 2582"/>
                  <a:gd name="T50" fmla="*/ 818 w 1287"/>
                  <a:gd name="T51" fmla="*/ 2289 h 2582"/>
                  <a:gd name="T52" fmla="*/ 721 w 1287"/>
                  <a:gd name="T53" fmla="*/ 2364 h 2582"/>
                  <a:gd name="T54" fmla="*/ 612 w 1287"/>
                  <a:gd name="T55" fmla="*/ 2427 h 2582"/>
                  <a:gd name="T56" fmla="*/ 498 w 1287"/>
                  <a:gd name="T57" fmla="*/ 2485 h 2582"/>
                  <a:gd name="T58" fmla="*/ 384 w 1287"/>
                  <a:gd name="T59" fmla="*/ 2525 h 2582"/>
                  <a:gd name="T60" fmla="*/ 258 w 1287"/>
                  <a:gd name="T61" fmla="*/ 2559 h 2582"/>
                  <a:gd name="T62" fmla="*/ 132 w 1287"/>
                  <a:gd name="T63" fmla="*/ 2576 h 2582"/>
                  <a:gd name="T64" fmla="*/ 0 w 1287"/>
                  <a:gd name="T65" fmla="*/ 2582 h 2582"/>
                  <a:gd name="T66" fmla="*/ 0 w 1287"/>
                  <a:gd name="T67" fmla="*/ 1291 h 2582"/>
                  <a:gd name="T68" fmla="*/ 0 w 1287"/>
                  <a:gd name="T69" fmla="*/ 0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87" h="2582">
                    <a:moveTo>
                      <a:pt x="0" y="0"/>
                    </a:moveTo>
                    <a:lnTo>
                      <a:pt x="132" y="6"/>
                    </a:lnTo>
                    <a:lnTo>
                      <a:pt x="258" y="23"/>
                    </a:lnTo>
                    <a:lnTo>
                      <a:pt x="384" y="57"/>
                    </a:lnTo>
                    <a:lnTo>
                      <a:pt x="498" y="98"/>
                    </a:lnTo>
                    <a:lnTo>
                      <a:pt x="612" y="155"/>
                    </a:lnTo>
                    <a:lnTo>
                      <a:pt x="721" y="218"/>
                    </a:lnTo>
                    <a:lnTo>
                      <a:pt x="818" y="293"/>
                    </a:lnTo>
                    <a:lnTo>
                      <a:pt x="910" y="379"/>
                    </a:lnTo>
                    <a:lnTo>
                      <a:pt x="995" y="471"/>
                    </a:lnTo>
                    <a:lnTo>
                      <a:pt x="1070" y="568"/>
                    </a:lnTo>
                    <a:lnTo>
                      <a:pt x="1133" y="677"/>
                    </a:lnTo>
                    <a:lnTo>
                      <a:pt x="1184" y="786"/>
                    </a:lnTo>
                    <a:lnTo>
                      <a:pt x="1230" y="907"/>
                    </a:lnTo>
                    <a:lnTo>
                      <a:pt x="1264" y="1027"/>
                    </a:lnTo>
                    <a:lnTo>
                      <a:pt x="1281" y="1159"/>
                    </a:lnTo>
                    <a:lnTo>
                      <a:pt x="1287" y="1291"/>
                    </a:lnTo>
                    <a:lnTo>
                      <a:pt x="1281" y="1423"/>
                    </a:lnTo>
                    <a:lnTo>
                      <a:pt x="1264" y="1549"/>
                    </a:lnTo>
                    <a:lnTo>
                      <a:pt x="1230" y="1676"/>
                    </a:lnTo>
                    <a:lnTo>
                      <a:pt x="1184" y="1796"/>
                    </a:lnTo>
                    <a:lnTo>
                      <a:pt x="1133" y="1905"/>
                    </a:lnTo>
                    <a:lnTo>
                      <a:pt x="1070" y="2014"/>
                    </a:lnTo>
                    <a:lnTo>
                      <a:pt x="995" y="2112"/>
                    </a:lnTo>
                    <a:lnTo>
                      <a:pt x="910" y="2203"/>
                    </a:lnTo>
                    <a:lnTo>
                      <a:pt x="818" y="2289"/>
                    </a:lnTo>
                    <a:lnTo>
                      <a:pt x="721" y="2364"/>
                    </a:lnTo>
                    <a:lnTo>
                      <a:pt x="612" y="2427"/>
                    </a:lnTo>
                    <a:lnTo>
                      <a:pt x="498" y="2485"/>
                    </a:lnTo>
                    <a:lnTo>
                      <a:pt x="384" y="2525"/>
                    </a:lnTo>
                    <a:lnTo>
                      <a:pt x="258" y="2559"/>
                    </a:lnTo>
                    <a:lnTo>
                      <a:pt x="132" y="2576"/>
                    </a:lnTo>
                    <a:lnTo>
                      <a:pt x="0" y="2582"/>
                    </a:lnTo>
                    <a:lnTo>
                      <a:pt x="0" y="12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0347D660-091D-8F0D-5D70-535DC98FC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54925" y="433388"/>
                <a:ext cx="2051050" cy="4098925"/>
              </a:xfrm>
              <a:custGeom>
                <a:avLst/>
                <a:gdLst>
                  <a:gd name="T0" fmla="*/ 1292 w 1292"/>
                  <a:gd name="T1" fmla="*/ 2582 h 2582"/>
                  <a:gd name="T2" fmla="*/ 1161 w 1292"/>
                  <a:gd name="T3" fmla="*/ 2576 h 2582"/>
                  <a:gd name="T4" fmla="*/ 1029 w 1292"/>
                  <a:gd name="T5" fmla="*/ 2559 h 2582"/>
                  <a:gd name="T6" fmla="*/ 909 w 1292"/>
                  <a:gd name="T7" fmla="*/ 2525 h 2582"/>
                  <a:gd name="T8" fmla="*/ 789 w 1292"/>
                  <a:gd name="T9" fmla="*/ 2485 h 2582"/>
                  <a:gd name="T10" fmla="*/ 675 w 1292"/>
                  <a:gd name="T11" fmla="*/ 2427 h 2582"/>
                  <a:gd name="T12" fmla="*/ 572 w 1292"/>
                  <a:gd name="T13" fmla="*/ 2364 h 2582"/>
                  <a:gd name="T14" fmla="*/ 469 w 1292"/>
                  <a:gd name="T15" fmla="*/ 2289 h 2582"/>
                  <a:gd name="T16" fmla="*/ 377 w 1292"/>
                  <a:gd name="T17" fmla="*/ 2203 h 2582"/>
                  <a:gd name="T18" fmla="*/ 297 w 1292"/>
                  <a:gd name="T19" fmla="*/ 2112 h 2582"/>
                  <a:gd name="T20" fmla="*/ 223 w 1292"/>
                  <a:gd name="T21" fmla="*/ 2014 h 2582"/>
                  <a:gd name="T22" fmla="*/ 160 w 1292"/>
                  <a:gd name="T23" fmla="*/ 1905 h 2582"/>
                  <a:gd name="T24" fmla="*/ 103 w 1292"/>
                  <a:gd name="T25" fmla="*/ 1796 h 2582"/>
                  <a:gd name="T26" fmla="*/ 63 w 1292"/>
                  <a:gd name="T27" fmla="*/ 1676 h 2582"/>
                  <a:gd name="T28" fmla="*/ 29 w 1292"/>
                  <a:gd name="T29" fmla="*/ 1549 h 2582"/>
                  <a:gd name="T30" fmla="*/ 11 w 1292"/>
                  <a:gd name="T31" fmla="*/ 1423 h 2582"/>
                  <a:gd name="T32" fmla="*/ 0 w 1292"/>
                  <a:gd name="T33" fmla="*/ 1291 h 2582"/>
                  <a:gd name="T34" fmla="*/ 11 w 1292"/>
                  <a:gd name="T35" fmla="*/ 1159 h 2582"/>
                  <a:gd name="T36" fmla="*/ 29 w 1292"/>
                  <a:gd name="T37" fmla="*/ 1027 h 2582"/>
                  <a:gd name="T38" fmla="*/ 63 w 1292"/>
                  <a:gd name="T39" fmla="*/ 907 h 2582"/>
                  <a:gd name="T40" fmla="*/ 103 w 1292"/>
                  <a:gd name="T41" fmla="*/ 786 h 2582"/>
                  <a:gd name="T42" fmla="*/ 160 w 1292"/>
                  <a:gd name="T43" fmla="*/ 677 h 2582"/>
                  <a:gd name="T44" fmla="*/ 223 w 1292"/>
                  <a:gd name="T45" fmla="*/ 568 h 2582"/>
                  <a:gd name="T46" fmla="*/ 297 w 1292"/>
                  <a:gd name="T47" fmla="*/ 471 h 2582"/>
                  <a:gd name="T48" fmla="*/ 377 w 1292"/>
                  <a:gd name="T49" fmla="*/ 379 h 2582"/>
                  <a:gd name="T50" fmla="*/ 469 w 1292"/>
                  <a:gd name="T51" fmla="*/ 293 h 2582"/>
                  <a:gd name="T52" fmla="*/ 572 w 1292"/>
                  <a:gd name="T53" fmla="*/ 218 h 2582"/>
                  <a:gd name="T54" fmla="*/ 675 w 1292"/>
                  <a:gd name="T55" fmla="*/ 155 h 2582"/>
                  <a:gd name="T56" fmla="*/ 789 w 1292"/>
                  <a:gd name="T57" fmla="*/ 98 h 2582"/>
                  <a:gd name="T58" fmla="*/ 909 w 1292"/>
                  <a:gd name="T59" fmla="*/ 57 h 2582"/>
                  <a:gd name="T60" fmla="*/ 1029 w 1292"/>
                  <a:gd name="T61" fmla="*/ 23 h 2582"/>
                  <a:gd name="T62" fmla="*/ 1161 w 1292"/>
                  <a:gd name="T63" fmla="*/ 6 h 2582"/>
                  <a:gd name="T64" fmla="*/ 1292 w 1292"/>
                  <a:gd name="T65" fmla="*/ 0 h 2582"/>
                  <a:gd name="T66" fmla="*/ 1292 w 1292"/>
                  <a:gd name="T67" fmla="*/ 1291 h 2582"/>
                  <a:gd name="T68" fmla="*/ 1292 w 1292"/>
                  <a:gd name="T69" fmla="*/ 2582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92" h="2582">
                    <a:moveTo>
                      <a:pt x="1292" y="2582"/>
                    </a:moveTo>
                    <a:lnTo>
                      <a:pt x="1161" y="2576"/>
                    </a:lnTo>
                    <a:lnTo>
                      <a:pt x="1029" y="2559"/>
                    </a:lnTo>
                    <a:lnTo>
                      <a:pt x="909" y="2525"/>
                    </a:lnTo>
                    <a:lnTo>
                      <a:pt x="789" y="2485"/>
                    </a:lnTo>
                    <a:lnTo>
                      <a:pt x="675" y="2427"/>
                    </a:lnTo>
                    <a:lnTo>
                      <a:pt x="572" y="2364"/>
                    </a:lnTo>
                    <a:lnTo>
                      <a:pt x="469" y="2289"/>
                    </a:lnTo>
                    <a:lnTo>
                      <a:pt x="377" y="2203"/>
                    </a:lnTo>
                    <a:lnTo>
                      <a:pt x="297" y="2112"/>
                    </a:lnTo>
                    <a:lnTo>
                      <a:pt x="223" y="2014"/>
                    </a:lnTo>
                    <a:lnTo>
                      <a:pt x="160" y="1905"/>
                    </a:lnTo>
                    <a:lnTo>
                      <a:pt x="103" y="1796"/>
                    </a:lnTo>
                    <a:lnTo>
                      <a:pt x="63" y="1676"/>
                    </a:lnTo>
                    <a:lnTo>
                      <a:pt x="29" y="1549"/>
                    </a:lnTo>
                    <a:lnTo>
                      <a:pt x="11" y="1423"/>
                    </a:lnTo>
                    <a:lnTo>
                      <a:pt x="0" y="1291"/>
                    </a:lnTo>
                    <a:lnTo>
                      <a:pt x="11" y="1159"/>
                    </a:lnTo>
                    <a:lnTo>
                      <a:pt x="29" y="1027"/>
                    </a:lnTo>
                    <a:lnTo>
                      <a:pt x="63" y="907"/>
                    </a:lnTo>
                    <a:lnTo>
                      <a:pt x="103" y="786"/>
                    </a:lnTo>
                    <a:lnTo>
                      <a:pt x="160" y="677"/>
                    </a:lnTo>
                    <a:lnTo>
                      <a:pt x="223" y="568"/>
                    </a:lnTo>
                    <a:lnTo>
                      <a:pt x="297" y="471"/>
                    </a:lnTo>
                    <a:lnTo>
                      <a:pt x="377" y="379"/>
                    </a:lnTo>
                    <a:lnTo>
                      <a:pt x="469" y="293"/>
                    </a:lnTo>
                    <a:lnTo>
                      <a:pt x="572" y="218"/>
                    </a:lnTo>
                    <a:lnTo>
                      <a:pt x="675" y="155"/>
                    </a:lnTo>
                    <a:lnTo>
                      <a:pt x="789" y="98"/>
                    </a:lnTo>
                    <a:lnTo>
                      <a:pt x="909" y="57"/>
                    </a:lnTo>
                    <a:lnTo>
                      <a:pt x="1029" y="23"/>
                    </a:lnTo>
                    <a:lnTo>
                      <a:pt x="1161" y="6"/>
                    </a:lnTo>
                    <a:lnTo>
                      <a:pt x="1292" y="0"/>
                    </a:lnTo>
                    <a:lnTo>
                      <a:pt x="1292" y="1291"/>
                    </a:lnTo>
                    <a:lnTo>
                      <a:pt x="1292" y="258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A1EE6E6-BB3D-9F80-CB94-E598A378E356}"/>
                </a:ext>
              </a:extLst>
            </p:cNvPr>
            <p:cNvGrpSpPr>
              <a:grpSpLocks/>
            </p:cNvGrpSpPr>
            <p:nvPr/>
          </p:nvGrpSpPr>
          <p:grpSpPr>
            <a:xfrm>
              <a:off x="-6721989" y="936154"/>
              <a:ext cx="3335575" cy="3342519"/>
              <a:chOff x="-5789054" y="433388"/>
              <a:chExt cx="4094162" cy="4098925"/>
            </a:xfrm>
          </p:grpSpPr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FC917218-D5DC-8F62-FC61-5EBAD7DF2D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38004" y="433388"/>
                <a:ext cx="2043112" cy="4098925"/>
              </a:xfrm>
              <a:custGeom>
                <a:avLst/>
                <a:gdLst>
                  <a:gd name="T0" fmla="*/ 0 w 1287"/>
                  <a:gd name="T1" fmla="*/ 0 h 2582"/>
                  <a:gd name="T2" fmla="*/ 132 w 1287"/>
                  <a:gd name="T3" fmla="*/ 6 h 2582"/>
                  <a:gd name="T4" fmla="*/ 258 w 1287"/>
                  <a:gd name="T5" fmla="*/ 23 h 2582"/>
                  <a:gd name="T6" fmla="*/ 384 w 1287"/>
                  <a:gd name="T7" fmla="*/ 57 h 2582"/>
                  <a:gd name="T8" fmla="*/ 498 w 1287"/>
                  <a:gd name="T9" fmla="*/ 98 h 2582"/>
                  <a:gd name="T10" fmla="*/ 612 w 1287"/>
                  <a:gd name="T11" fmla="*/ 155 h 2582"/>
                  <a:gd name="T12" fmla="*/ 721 w 1287"/>
                  <a:gd name="T13" fmla="*/ 218 h 2582"/>
                  <a:gd name="T14" fmla="*/ 818 w 1287"/>
                  <a:gd name="T15" fmla="*/ 293 h 2582"/>
                  <a:gd name="T16" fmla="*/ 910 w 1287"/>
                  <a:gd name="T17" fmla="*/ 379 h 2582"/>
                  <a:gd name="T18" fmla="*/ 995 w 1287"/>
                  <a:gd name="T19" fmla="*/ 471 h 2582"/>
                  <a:gd name="T20" fmla="*/ 1070 w 1287"/>
                  <a:gd name="T21" fmla="*/ 568 h 2582"/>
                  <a:gd name="T22" fmla="*/ 1133 w 1287"/>
                  <a:gd name="T23" fmla="*/ 677 h 2582"/>
                  <a:gd name="T24" fmla="*/ 1184 w 1287"/>
                  <a:gd name="T25" fmla="*/ 786 h 2582"/>
                  <a:gd name="T26" fmla="*/ 1230 w 1287"/>
                  <a:gd name="T27" fmla="*/ 907 h 2582"/>
                  <a:gd name="T28" fmla="*/ 1264 w 1287"/>
                  <a:gd name="T29" fmla="*/ 1027 h 2582"/>
                  <a:gd name="T30" fmla="*/ 1281 w 1287"/>
                  <a:gd name="T31" fmla="*/ 1159 h 2582"/>
                  <a:gd name="T32" fmla="*/ 1287 w 1287"/>
                  <a:gd name="T33" fmla="*/ 1291 h 2582"/>
                  <a:gd name="T34" fmla="*/ 1281 w 1287"/>
                  <a:gd name="T35" fmla="*/ 1423 h 2582"/>
                  <a:gd name="T36" fmla="*/ 1264 w 1287"/>
                  <a:gd name="T37" fmla="*/ 1549 h 2582"/>
                  <a:gd name="T38" fmla="*/ 1230 w 1287"/>
                  <a:gd name="T39" fmla="*/ 1676 h 2582"/>
                  <a:gd name="T40" fmla="*/ 1184 w 1287"/>
                  <a:gd name="T41" fmla="*/ 1796 h 2582"/>
                  <a:gd name="T42" fmla="*/ 1133 w 1287"/>
                  <a:gd name="T43" fmla="*/ 1905 h 2582"/>
                  <a:gd name="T44" fmla="*/ 1070 w 1287"/>
                  <a:gd name="T45" fmla="*/ 2014 h 2582"/>
                  <a:gd name="T46" fmla="*/ 995 w 1287"/>
                  <a:gd name="T47" fmla="*/ 2112 h 2582"/>
                  <a:gd name="T48" fmla="*/ 910 w 1287"/>
                  <a:gd name="T49" fmla="*/ 2203 h 2582"/>
                  <a:gd name="T50" fmla="*/ 818 w 1287"/>
                  <a:gd name="T51" fmla="*/ 2289 h 2582"/>
                  <a:gd name="T52" fmla="*/ 721 w 1287"/>
                  <a:gd name="T53" fmla="*/ 2364 h 2582"/>
                  <a:gd name="T54" fmla="*/ 612 w 1287"/>
                  <a:gd name="T55" fmla="*/ 2427 h 2582"/>
                  <a:gd name="T56" fmla="*/ 498 w 1287"/>
                  <a:gd name="T57" fmla="*/ 2485 h 2582"/>
                  <a:gd name="T58" fmla="*/ 384 w 1287"/>
                  <a:gd name="T59" fmla="*/ 2525 h 2582"/>
                  <a:gd name="T60" fmla="*/ 258 w 1287"/>
                  <a:gd name="T61" fmla="*/ 2559 h 2582"/>
                  <a:gd name="T62" fmla="*/ 132 w 1287"/>
                  <a:gd name="T63" fmla="*/ 2576 h 2582"/>
                  <a:gd name="T64" fmla="*/ 0 w 1287"/>
                  <a:gd name="T65" fmla="*/ 2582 h 2582"/>
                  <a:gd name="T66" fmla="*/ 0 w 1287"/>
                  <a:gd name="T67" fmla="*/ 1291 h 2582"/>
                  <a:gd name="T68" fmla="*/ 0 w 1287"/>
                  <a:gd name="T69" fmla="*/ 0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87" h="2582">
                    <a:moveTo>
                      <a:pt x="0" y="0"/>
                    </a:moveTo>
                    <a:lnTo>
                      <a:pt x="132" y="6"/>
                    </a:lnTo>
                    <a:lnTo>
                      <a:pt x="258" y="23"/>
                    </a:lnTo>
                    <a:lnTo>
                      <a:pt x="384" y="57"/>
                    </a:lnTo>
                    <a:lnTo>
                      <a:pt x="498" y="98"/>
                    </a:lnTo>
                    <a:lnTo>
                      <a:pt x="612" y="155"/>
                    </a:lnTo>
                    <a:lnTo>
                      <a:pt x="721" y="218"/>
                    </a:lnTo>
                    <a:lnTo>
                      <a:pt x="818" y="293"/>
                    </a:lnTo>
                    <a:lnTo>
                      <a:pt x="910" y="379"/>
                    </a:lnTo>
                    <a:lnTo>
                      <a:pt x="995" y="471"/>
                    </a:lnTo>
                    <a:lnTo>
                      <a:pt x="1070" y="568"/>
                    </a:lnTo>
                    <a:lnTo>
                      <a:pt x="1133" y="677"/>
                    </a:lnTo>
                    <a:lnTo>
                      <a:pt x="1184" y="786"/>
                    </a:lnTo>
                    <a:lnTo>
                      <a:pt x="1230" y="907"/>
                    </a:lnTo>
                    <a:lnTo>
                      <a:pt x="1264" y="1027"/>
                    </a:lnTo>
                    <a:lnTo>
                      <a:pt x="1281" y="1159"/>
                    </a:lnTo>
                    <a:lnTo>
                      <a:pt x="1287" y="1291"/>
                    </a:lnTo>
                    <a:lnTo>
                      <a:pt x="1281" y="1423"/>
                    </a:lnTo>
                    <a:lnTo>
                      <a:pt x="1264" y="1549"/>
                    </a:lnTo>
                    <a:lnTo>
                      <a:pt x="1230" y="1676"/>
                    </a:lnTo>
                    <a:lnTo>
                      <a:pt x="1184" y="1796"/>
                    </a:lnTo>
                    <a:lnTo>
                      <a:pt x="1133" y="1905"/>
                    </a:lnTo>
                    <a:lnTo>
                      <a:pt x="1070" y="2014"/>
                    </a:lnTo>
                    <a:lnTo>
                      <a:pt x="995" y="2112"/>
                    </a:lnTo>
                    <a:lnTo>
                      <a:pt x="910" y="2203"/>
                    </a:lnTo>
                    <a:lnTo>
                      <a:pt x="818" y="2289"/>
                    </a:lnTo>
                    <a:lnTo>
                      <a:pt x="721" y="2364"/>
                    </a:lnTo>
                    <a:lnTo>
                      <a:pt x="612" y="2427"/>
                    </a:lnTo>
                    <a:lnTo>
                      <a:pt x="498" y="2485"/>
                    </a:lnTo>
                    <a:lnTo>
                      <a:pt x="384" y="2525"/>
                    </a:lnTo>
                    <a:lnTo>
                      <a:pt x="258" y="2559"/>
                    </a:lnTo>
                    <a:lnTo>
                      <a:pt x="132" y="2576"/>
                    </a:lnTo>
                    <a:lnTo>
                      <a:pt x="0" y="2582"/>
                    </a:lnTo>
                    <a:lnTo>
                      <a:pt x="0" y="12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BAD315FE-DC24-F78B-71AC-DCA08DF68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89054" y="433388"/>
                <a:ext cx="2051050" cy="4098925"/>
              </a:xfrm>
              <a:custGeom>
                <a:avLst/>
                <a:gdLst>
                  <a:gd name="T0" fmla="*/ 1292 w 1292"/>
                  <a:gd name="T1" fmla="*/ 2582 h 2582"/>
                  <a:gd name="T2" fmla="*/ 1161 w 1292"/>
                  <a:gd name="T3" fmla="*/ 2576 h 2582"/>
                  <a:gd name="T4" fmla="*/ 1029 w 1292"/>
                  <a:gd name="T5" fmla="*/ 2559 h 2582"/>
                  <a:gd name="T6" fmla="*/ 909 w 1292"/>
                  <a:gd name="T7" fmla="*/ 2525 h 2582"/>
                  <a:gd name="T8" fmla="*/ 789 w 1292"/>
                  <a:gd name="T9" fmla="*/ 2485 h 2582"/>
                  <a:gd name="T10" fmla="*/ 675 w 1292"/>
                  <a:gd name="T11" fmla="*/ 2427 h 2582"/>
                  <a:gd name="T12" fmla="*/ 572 w 1292"/>
                  <a:gd name="T13" fmla="*/ 2364 h 2582"/>
                  <a:gd name="T14" fmla="*/ 469 w 1292"/>
                  <a:gd name="T15" fmla="*/ 2289 h 2582"/>
                  <a:gd name="T16" fmla="*/ 377 w 1292"/>
                  <a:gd name="T17" fmla="*/ 2203 h 2582"/>
                  <a:gd name="T18" fmla="*/ 297 w 1292"/>
                  <a:gd name="T19" fmla="*/ 2112 h 2582"/>
                  <a:gd name="T20" fmla="*/ 223 w 1292"/>
                  <a:gd name="T21" fmla="*/ 2014 h 2582"/>
                  <a:gd name="T22" fmla="*/ 160 w 1292"/>
                  <a:gd name="T23" fmla="*/ 1905 h 2582"/>
                  <a:gd name="T24" fmla="*/ 103 w 1292"/>
                  <a:gd name="T25" fmla="*/ 1796 h 2582"/>
                  <a:gd name="T26" fmla="*/ 63 w 1292"/>
                  <a:gd name="T27" fmla="*/ 1676 h 2582"/>
                  <a:gd name="T28" fmla="*/ 29 w 1292"/>
                  <a:gd name="T29" fmla="*/ 1549 h 2582"/>
                  <a:gd name="T30" fmla="*/ 11 w 1292"/>
                  <a:gd name="T31" fmla="*/ 1423 h 2582"/>
                  <a:gd name="T32" fmla="*/ 0 w 1292"/>
                  <a:gd name="T33" fmla="*/ 1291 h 2582"/>
                  <a:gd name="T34" fmla="*/ 11 w 1292"/>
                  <a:gd name="T35" fmla="*/ 1159 h 2582"/>
                  <a:gd name="T36" fmla="*/ 29 w 1292"/>
                  <a:gd name="T37" fmla="*/ 1027 h 2582"/>
                  <a:gd name="T38" fmla="*/ 63 w 1292"/>
                  <a:gd name="T39" fmla="*/ 907 h 2582"/>
                  <a:gd name="T40" fmla="*/ 103 w 1292"/>
                  <a:gd name="T41" fmla="*/ 786 h 2582"/>
                  <a:gd name="T42" fmla="*/ 160 w 1292"/>
                  <a:gd name="T43" fmla="*/ 677 h 2582"/>
                  <a:gd name="T44" fmla="*/ 223 w 1292"/>
                  <a:gd name="T45" fmla="*/ 568 h 2582"/>
                  <a:gd name="T46" fmla="*/ 297 w 1292"/>
                  <a:gd name="T47" fmla="*/ 471 h 2582"/>
                  <a:gd name="T48" fmla="*/ 377 w 1292"/>
                  <a:gd name="T49" fmla="*/ 379 h 2582"/>
                  <a:gd name="T50" fmla="*/ 469 w 1292"/>
                  <a:gd name="T51" fmla="*/ 293 h 2582"/>
                  <a:gd name="T52" fmla="*/ 572 w 1292"/>
                  <a:gd name="T53" fmla="*/ 218 h 2582"/>
                  <a:gd name="T54" fmla="*/ 675 w 1292"/>
                  <a:gd name="T55" fmla="*/ 155 h 2582"/>
                  <a:gd name="T56" fmla="*/ 789 w 1292"/>
                  <a:gd name="T57" fmla="*/ 98 h 2582"/>
                  <a:gd name="T58" fmla="*/ 909 w 1292"/>
                  <a:gd name="T59" fmla="*/ 57 h 2582"/>
                  <a:gd name="T60" fmla="*/ 1029 w 1292"/>
                  <a:gd name="T61" fmla="*/ 23 h 2582"/>
                  <a:gd name="T62" fmla="*/ 1161 w 1292"/>
                  <a:gd name="T63" fmla="*/ 6 h 2582"/>
                  <a:gd name="T64" fmla="*/ 1292 w 1292"/>
                  <a:gd name="T65" fmla="*/ 0 h 2582"/>
                  <a:gd name="T66" fmla="*/ 1292 w 1292"/>
                  <a:gd name="T67" fmla="*/ 1291 h 2582"/>
                  <a:gd name="T68" fmla="*/ 1292 w 1292"/>
                  <a:gd name="T69" fmla="*/ 2582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92" h="2582">
                    <a:moveTo>
                      <a:pt x="1292" y="2582"/>
                    </a:moveTo>
                    <a:lnTo>
                      <a:pt x="1161" y="2576"/>
                    </a:lnTo>
                    <a:lnTo>
                      <a:pt x="1029" y="2559"/>
                    </a:lnTo>
                    <a:lnTo>
                      <a:pt x="909" y="2525"/>
                    </a:lnTo>
                    <a:lnTo>
                      <a:pt x="789" y="2485"/>
                    </a:lnTo>
                    <a:lnTo>
                      <a:pt x="675" y="2427"/>
                    </a:lnTo>
                    <a:lnTo>
                      <a:pt x="572" y="2364"/>
                    </a:lnTo>
                    <a:lnTo>
                      <a:pt x="469" y="2289"/>
                    </a:lnTo>
                    <a:lnTo>
                      <a:pt x="377" y="2203"/>
                    </a:lnTo>
                    <a:lnTo>
                      <a:pt x="297" y="2112"/>
                    </a:lnTo>
                    <a:lnTo>
                      <a:pt x="223" y="2014"/>
                    </a:lnTo>
                    <a:lnTo>
                      <a:pt x="160" y="1905"/>
                    </a:lnTo>
                    <a:lnTo>
                      <a:pt x="103" y="1796"/>
                    </a:lnTo>
                    <a:lnTo>
                      <a:pt x="63" y="1676"/>
                    </a:lnTo>
                    <a:lnTo>
                      <a:pt x="29" y="1549"/>
                    </a:lnTo>
                    <a:lnTo>
                      <a:pt x="11" y="1423"/>
                    </a:lnTo>
                    <a:lnTo>
                      <a:pt x="0" y="1291"/>
                    </a:lnTo>
                    <a:lnTo>
                      <a:pt x="11" y="1159"/>
                    </a:lnTo>
                    <a:lnTo>
                      <a:pt x="29" y="1027"/>
                    </a:lnTo>
                    <a:lnTo>
                      <a:pt x="63" y="907"/>
                    </a:lnTo>
                    <a:lnTo>
                      <a:pt x="103" y="786"/>
                    </a:lnTo>
                    <a:lnTo>
                      <a:pt x="160" y="677"/>
                    </a:lnTo>
                    <a:lnTo>
                      <a:pt x="223" y="568"/>
                    </a:lnTo>
                    <a:lnTo>
                      <a:pt x="297" y="471"/>
                    </a:lnTo>
                    <a:lnTo>
                      <a:pt x="377" y="379"/>
                    </a:lnTo>
                    <a:lnTo>
                      <a:pt x="469" y="293"/>
                    </a:lnTo>
                    <a:lnTo>
                      <a:pt x="572" y="218"/>
                    </a:lnTo>
                    <a:lnTo>
                      <a:pt x="675" y="155"/>
                    </a:lnTo>
                    <a:lnTo>
                      <a:pt x="789" y="98"/>
                    </a:lnTo>
                    <a:lnTo>
                      <a:pt x="909" y="57"/>
                    </a:lnTo>
                    <a:lnTo>
                      <a:pt x="1029" y="23"/>
                    </a:lnTo>
                    <a:lnTo>
                      <a:pt x="1161" y="6"/>
                    </a:lnTo>
                    <a:lnTo>
                      <a:pt x="1292" y="0"/>
                    </a:lnTo>
                    <a:lnTo>
                      <a:pt x="1292" y="1291"/>
                    </a:lnTo>
                    <a:lnTo>
                      <a:pt x="1292" y="2582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2" name="Inhaltsplatzhalter 4">
            <a:extLst>
              <a:ext uri="{FF2B5EF4-FFF2-40B4-BE49-F238E27FC236}">
                <a16:creationId xmlns:a16="http://schemas.microsoft.com/office/drawing/2014/main" id="{93CCDEEC-D571-A7A9-5BD7-3A5978B2E43E}"/>
              </a:ext>
            </a:extLst>
          </p:cNvPr>
          <p:cNvSpPr txBox="1">
            <a:spLocks/>
          </p:cNvSpPr>
          <p:nvPr/>
        </p:nvSpPr>
        <p:spPr>
          <a:xfrm>
            <a:off x="8359319" y="3420977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4D93C99-BAFE-BD48-3CB8-EF01AA15DB65}"/>
              </a:ext>
            </a:extLst>
          </p:cNvPr>
          <p:cNvSpPr/>
          <p:nvPr/>
        </p:nvSpPr>
        <p:spPr>
          <a:xfrm>
            <a:off x="5325433" y="2908357"/>
            <a:ext cx="1298246" cy="128539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</a:p>
        </p:txBody>
      </p:sp>
      <p:grpSp>
        <p:nvGrpSpPr>
          <p:cNvPr id="14" name="Shape0_20180718_204234">
            <a:extLst>
              <a:ext uri="{FF2B5EF4-FFF2-40B4-BE49-F238E27FC236}">
                <a16:creationId xmlns:a16="http://schemas.microsoft.com/office/drawing/2014/main" id="{C285BB01-31E8-0ED0-2190-B5923F5E1DE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899670" y="3292195"/>
            <a:ext cx="506863" cy="506863"/>
            <a:chOff x="5712408" y="975680"/>
            <a:chExt cx="671729" cy="639391"/>
          </a:xfrm>
        </p:grpSpPr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3FADDFB7-DD57-2345-A369-1EFE37F811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F01D2568-FA2C-7D7E-FBFA-EECC47262A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C03E70C4-6445-0177-ECD7-69B48762D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9FBCF39C-39B2-05AE-FEDF-0BF737A9F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170EABE9-2753-94B7-887B-CDEABE352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FCDF9CD6-72DE-FD61-4E26-53F2905CE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21" name="Shape2_20180718_204234">
            <a:extLst>
              <a:ext uri="{FF2B5EF4-FFF2-40B4-BE49-F238E27FC236}">
                <a16:creationId xmlns:a16="http://schemas.microsoft.com/office/drawing/2014/main" id="{A95491B3-1DEE-B068-A547-440C8577F477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553706" y="3292195"/>
            <a:ext cx="506863" cy="506863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22" name="Inhaltsplatzhalter 4">
            <a:extLst>
              <a:ext uri="{FF2B5EF4-FFF2-40B4-BE49-F238E27FC236}">
                <a16:creationId xmlns:a16="http://schemas.microsoft.com/office/drawing/2014/main" id="{54E8351C-7AA5-D5E2-19E8-2DB893389C9D}"/>
              </a:ext>
            </a:extLst>
          </p:cNvPr>
          <p:cNvSpPr txBox="1">
            <a:spLocks/>
          </p:cNvSpPr>
          <p:nvPr/>
        </p:nvSpPr>
        <p:spPr>
          <a:xfrm>
            <a:off x="498132" y="3420977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1599186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0</TotalTime>
  <Words>8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01</cp:revision>
  <dcterms:created xsi:type="dcterms:W3CDTF">2021-03-31T02:49:57Z</dcterms:created>
  <dcterms:modified xsi:type="dcterms:W3CDTF">2025-10-15T03:32:22Z</dcterms:modified>
  <cp:category/>
</cp:coreProperties>
</file>